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22"/>
  </p:notesMasterIdLst>
  <p:handoutMasterIdLst>
    <p:handoutMasterId r:id="rId23"/>
  </p:handoutMasterIdLst>
  <p:sldIdLst>
    <p:sldId id="256" r:id="rId2"/>
    <p:sldId id="264" r:id="rId3"/>
    <p:sldId id="263" r:id="rId4"/>
    <p:sldId id="268" r:id="rId5"/>
    <p:sldId id="266" r:id="rId6"/>
    <p:sldId id="274" r:id="rId7"/>
    <p:sldId id="269" r:id="rId8"/>
    <p:sldId id="272" r:id="rId9"/>
    <p:sldId id="273" r:id="rId10"/>
    <p:sldId id="275" r:id="rId11"/>
    <p:sldId id="281" r:id="rId12"/>
    <p:sldId id="284" r:id="rId13"/>
    <p:sldId id="286" r:id="rId14"/>
    <p:sldId id="282" r:id="rId15"/>
    <p:sldId id="276" r:id="rId16"/>
    <p:sldId id="278" r:id="rId17"/>
    <p:sldId id="277" r:id="rId18"/>
    <p:sldId id="279" r:id="rId19"/>
    <p:sldId id="261" r:id="rId20"/>
    <p:sldId id="262" r:id="rId21"/>
  </p:sldIdLst>
  <p:sldSz cx="9144000" cy="6858000" type="screen4x3"/>
  <p:notesSz cx="6797675" cy="9982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pos="158">
          <p15:clr>
            <a:srgbClr val="A4A3A4"/>
          </p15:clr>
        </p15:guide>
        <p15:guide id="4" pos="4241">
          <p15:clr>
            <a:srgbClr val="A4A3A4"/>
          </p15:clr>
        </p15:guide>
        <p15:guide id="5" pos="4468">
          <p15:clr>
            <a:srgbClr val="A4A3A4"/>
          </p15:clr>
        </p15:guide>
        <p15:guide id="6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1530" y="108"/>
      </p:cViewPr>
      <p:guideLst>
        <p:guide orient="horz" pos="799"/>
        <p:guide orient="horz" pos="3974"/>
        <p:guide pos="158"/>
        <p:guide pos="4241"/>
        <p:guide pos="4468"/>
        <p:guide pos="560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336" y="-306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/>
              <a:t>Kosten pro Tag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lte Lösung</c:v>
                </c:pt>
              </c:strCache>
            </c:strRef>
          </c:tx>
          <c:spPr>
            <a:ln>
              <a:solidFill>
                <a:schemeClr val="tx2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0</c:v>
                </c:pt>
                <c:pt idx="1">
                  <c:v>475</c:v>
                </c:pt>
                <c:pt idx="2">
                  <c:v>950</c:v>
                </c:pt>
                <c:pt idx="3">
                  <c:v>1425</c:v>
                </c:pt>
                <c:pt idx="4">
                  <c:v>1900</c:v>
                </c:pt>
                <c:pt idx="5">
                  <c:v>2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116-4DB0-8310-B91F139BE2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eue Lösung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1506</c:v>
                </c:pt>
                <c:pt idx="1">
                  <c:v>1601</c:v>
                </c:pt>
                <c:pt idx="2">
                  <c:v>1696</c:v>
                </c:pt>
                <c:pt idx="3">
                  <c:v>1791</c:v>
                </c:pt>
                <c:pt idx="4">
                  <c:v>1886</c:v>
                </c:pt>
                <c:pt idx="5">
                  <c:v>1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116-4DB0-8310-B91F139BE2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8804096"/>
        <c:axId val="214937984"/>
      </c:lineChart>
      <c:catAx>
        <c:axId val="20880409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Anzahl Mitarbeiter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214937984"/>
        <c:crosses val="autoZero"/>
        <c:auto val="1"/>
        <c:lblAlgn val="ctr"/>
        <c:lblOffset val="100"/>
        <c:noMultiLvlLbl val="0"/>
      </c:catAx>
      <c:valAx>
        <c:axId val="214937984"/>
        <c:scaling>
          <c:orientation val="minMax"/>
        </c:scaling>
        <c:delete val="0"/>
        <c:axPos val="l"/>
        <c:majorGridlines/>
        <c:numFmt formatCode="#,##0.00\ &quot;€&quot;" sourceLinked="0"/>
        <c:majorTickMark val="out"/>
        <c:minorTickMark val="none"/>
        <c:tickLblPos val="nextTo"/>
        <c:crossAx val="208804096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legend>
      <c:legendPos val="r"/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572</cdr:x>
      <cdr:y>0.71429</cdr:y>
    </cdr:from>
    <cdr:to>
      <cdr:x>0.68239</cdr:x>
      <cdr:y>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2829464" y="297611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de-DE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2.01.2018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315913" y="982663"/>
            <a:ext cx="4989512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2.01.2018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lnSpc>
        <a:spcPct val="110000"/>
      </a:lnSpc>
      <a:spcBef>
        <a:spcPts val="300"/>
      </a:spcBef>
      <a:spcAft>
        <a:spcPts val="30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18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6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53975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72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9300"/>
            <a:ext cx="49911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2456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0825" y="2781300"/>
            <a:ext cx="6481763" cy="1223963"/>
          </a:xfrm>
        </p:spPr>
        <p:txBody>
          <a:bodyPr anchor="ctr"/>
          <a:lstStyle>
            <a:lvl1pPr algn="l">
              <a:defRPr sz="3000" b="0" baseline="0"/>
            </a:lvl1pPr>
          </a:lstStyle>
          <a:p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365624"/>
            <a:ext cx="6481763" cy="194310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336"/>
              </a:spcAft>
              <a:buNone/>
              <a:defRPr lang="de-DE" sz="1100" smtClean="0">
                <a:effectLst/>
              </a:defRPr>
            </a:lvl1pPr>
            <a:lvl2pPr marL="0" indent="0" algn="l">
              <a:spcBef>
                <a:spcPts val="19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&#10;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55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&#10;1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41036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542925" algn="l"/>
              </a:tabLst>
              <a:defRPr sz="1200" b="1" baseline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 b="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1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3963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&#10;2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30241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59"/>
            <a:ext cx="3024684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15" name="Gerade Verbindung 14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1537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&#10;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60"/>
            <a:ext cx="3024188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60"/>
            <a:ext cx="3024684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750" y="4637707"/>
            <a:ext cx="3024188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07905" y="4637707"/>
            <a:ext cx="3024684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15821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cxnSp>
        <p:nvCxnSpPr>
          <p:cNvPr id="23" name="Gerade Verbindung 22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6209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 Bild&#10;1 Contac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51721" y="3068959"/>
            <a:ext cx="259171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6" name="Bildplatzhalter 11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539750" y="3068638"/>
            <a:ext cx="1295946" cy="1800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cxnSp>
        <p:nvCxnSpPr>
          <p:cNvPr id="27" name="Gerade Verbindung 26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391317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 Bild&#10;2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59"/>
            <a:ext cx="2160290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59"/>
            <a:ext cx="2160589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68226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 Bild&#10;4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60"/>
            <a:ext cx="2160290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60"/>
            <a:ext cx="2160589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25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03648" y="4653135"/>
            <a:ext cx="2160290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571999" y="4653135"/>
            <a:ext cx="2160589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539750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30" name="Bildplatzhalter 15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707904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31" name="Gerade Verbindung 30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94585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250825" y="3573463"/>
            <a:ext cx="6481763" cy="2735262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16000" rIns="216000" bIns="216000" anchor="b" anchorCtr="0"/>
          <a:lstStyle>
            <a:lvl1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-14557" y="-4761"/>
            <a:ext cx="9175184" cy="6880580"/>
          </a:xfrm>
          <a:custGeom>
            <a:avLst/>
            <a:gdLst>
              <a:gd name="connsiteX0" fmla="*/ 10 w 9144000"/>
              <a:gd name="connsiteY0" fmla="*/ 2619516 h 6858000"/>
              <a:gd name="connsiteX1" fmla="*/ 4572000 w 9144000"/>
              <a:gd name="connsiteY1" fmla="*/ 0 h 6858000"/>
              <a:gd name="connsiteX2" fmla="*/ 9143990 w 9144000"/>
              <a:gd name="connsiteY2" fmla="*/ 2619516 h 6858000"/>
              <a:gd name="connsiteX3" fmla="*/ 7397645 w 9144000"/>
              <a:gd name="connsiteY3" fmla="*/ 6857983 h 6858000"/>
              <a:gd name="connsiteX4" fmla="*/ 1746355 w 9144000"/>
              <a:gd name="connsiteY4" fmla="*/ 6857983 h 6858000"/>
              <a:gd name="connsiteX5" fmla="*/ 10 w 9144000"/>
              <a:gd name="connsiteY5" fmla="*/ 2619516 h 6858000"/>
              <a:gd name="connsiteX0" fmla="*/ 0 w 9143980"/>
              <a:gd name="connsiteY0" fmla="*/ 141 h 6857983"/>
              <a:gd name="connsiteX1" fmla="*/ 4571990 w 9143980"/>
              <a:gd name="connsiteY1" fmla="*/ 0 h 6857983"/>
              <a:gd name="connsiteX2" fmla="*/ 9143980 w 9143980"/>
              <a:gd name="connsiteY2" fmla="*/ 2619516 h 6857983"/>
              <a:gd name="connsiteX3" fmla="*/ 7397635 w 9143980"/>
              <a:gd name="connsiteY3" fmla="*/ 6857983 h 6857983"/>
              <a:gd name="connsiteX4" fmla="*/ 1746345 w 9143980"/>
              <a:gd name="connsiteY4" fmla="*/ 6857983 h 6857983"/>
              <a:gd name="connsiteX5" fmla="*/ 0 w 9143980"/>
              <a:gd name="connsiteY5" fmla="*/ 141 h 6857983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403890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108615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08615 w 9150235"/>
              <a:gd name="connsiteY4" fmla="*/ 6857983 h 6867508"/>
              <a:gd name="connsiteX5" fmla="*/ 0 w 9150235"/>
              <a:gd name="connsiteY5" fmla="*/ 6867508 h 6867508"/>
              <a:gd name="connsiteX6" fmla="*/ 6255 w 9150235"/>
              <a:gd name="connsiteY6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307159 w 9150235"/>
              <a:gd name="connsiteY4" fmla="*/ 6448425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6532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26409 w 9150235"/>
              <a:gd name="connsiteY3" fmla="*/ 619125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85800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97846 w 9150235"/>
              <a:gd name="connsiteY3" fmla="*/ 5334000 h 6867508"/>
              <a:gd name="connsiteX4" fmla="*/ 8907359 w 9150235"/>
              <a:gd name="connsiteY4" fmla="*/ 6858000 h 6867508"/>
              <a:gd name="connsiteX5" fmla="*/ 8907359 w 9150235"/>
              <a:gd name="connsiteY5" fmla="*/ 6653213 h 6867508"/>
              <a:gd name="connsiteX6" fmla="*/ 7111896 w 9150235"/>
              <a:gd name="connsiteY6" fmla="*/ 6662737 h 6867508"/>
              <a:gd name="connsiteX7" fmla="*/ 7108615 w 9150235"/>
              <a:gd name="connsiteY7" fmla="*/ 6857983 h 6867508"/>
              <a:gd name="connsiteX8" fmla="*/ 0 w 9150235"/>
              <a:gd name="connsiteY8" fmla="*/ 6867508 h 6867508"/>
              <a:gd name="connsiteX9" fmla="*/ 6255 w 9150235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26195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0574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41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8993083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2642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35945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2522 h 6869889"/>
              <a:gd name="connsiteX1" fmla="*/ 4578245 w 9150246"/>
              <a:gd name="connsiteY1" fmla="*/ 2381 h 6869889"/>
              <a:gd name="connsiteX2" fmla="*/ 8969270 w 9150246"/>
              <a:gd name="connsiteY2" fmla="*/ 0 h 6869889"/>
              <a:gd name="connsiteX3" fmla="*/ 9045470 w 9150246"/>
              <a:gd name="connsiteY3" fmla="*/ 2381 h 6869889"/>
              <a:gd name="connsiteX4" fmla="*/ 9150235 w 9150246"/>
              <a:gd name="connsiteY4" fmla="*/ 2522 h 6869889"/>
              <a:gd name="connsiteX5" fmla="*/ 9150246 w 9150246"/>
              <a:gd name="connsiteY5" fmla="*/ 6865143 h 6869889"/>
              <a:gd name="connsiteX6" fmla="*/ 8907359 w 9150246"/>
              <a:gd name="connsiteY6" fmla="*/ 6860381 h 6869889"/>
              <a:gd name="connsiteX7" fmla="*/ 8907359 w 9150246"/>
              <a:gd name="connsiteY7" fmla="*/ 6655594 h 6869889"/>
              <a:gd name="connsiteX8" fmla="*/ 7111896 w 9150246"/>
              <a:gd name="connsiteY8" fmla="*/ 6665118 h 6869889"/>
              <a:gd name="connsiteX9" fmla="*/ 7108615 w 9150246"/>
              <a:gd name="connsiteY9" fmla="*/ 6860364 h 6869889"/>
              <a:gd name="connsiteX10" fmla="*/ 0 w 9150246"/>
              <a:gd name="connsiteY10" fmla="*/ 6869889 h 6869889"/>
              <a:gd name="connsiteX11" fmla="*/ 6255 w 9150246"/>
              <a:gd name="connsiteY11" fmla="*/ 2522 h 686988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0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2381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497658 w 9150246"/>
              <a:gd name="connsiteY2" fmla="*/ 690563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7589 w 9150246"/>
              <a:gd name="connsiteY2" fmla="*/ 1057276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542776 w 9150246"/>
              <a:gd name="connsiteY2" fmla="*/ 871538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9970 w 9150246"/>
              <a:gd name="connsiteY2" fmla="*/ 104775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754708 w 9150246"/>
              <a:gd name="connsiteY2" fmla="*/ 9286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2 w 9150246"/>
              <a:gd name="connsiteY2" fmla="*/ 11191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857226 w 9150246"/>
              <a:gd name="connsiteY2" fmla="*/ 785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04989 w 9150246"/>
              <a:gd name="connsiteY3" fmla="*/ 100013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8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8926407 w 9150246"/>
              <a:gd name="connsiteY3" fmla="*/ 64294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71664 w 9150246"/>
              <a:gd name="connsiteY6" fmla="*/ 1097756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204580"/>
              <a:gd name="connsiteY0" fmla="*/ 141 h 6867508"/>
              <a:gd name="connsiteX1" fmla="*/ 4578245 w 9204580"/>
              <a:gd name="connsiteY1" fmla="*/ 0 h 6867508"/>
              <a:gd name="connsiteX2" fmla="*/ 9045470 w 9204580"/>
              <a:gd name="connsiteY2" fmla="*/ 2381 h 6867508"/>
              <a:gd name="connsiteX3" fmla="*/ 9050232 w 9204580"/>
              <a:gd name="connsiteY3" fmla="*/ 109537 h 6867508"/>
              <a:gd name="connsiteX4" fmla="*/ 6949969 w 9204580"/>
              <a:gd name="connsiteY4" fmla="*/ 109537 h 6867508"/>
              <a:gd name="connsiteX5" fmla="*/ 6947588 w 9204580"/>
              <a:gd name="connsiteY5" fmla="*/ 1059657 h 6867508"/>
              <a:gd name="connsiteX6" fmla="*/ 9050233 w 9204580"/>
              <a:gd name="connsiteY6" fmla="*/ 1057275 h 6867508"/>
              <a:gd name="connsiteX7" fmla="*/ 9045470 w 9204580"/>
              <a:gd name="connsiteY7" fmla="*/ 2381 h 6867508"/>
              <a:gd name="connsiteX8" fmla="*/ 9150235 w 9204580"/>
              <a:gd name="connsiteY8" fmla="*/ 141 h 6867508"/>
              <a:gd name="connsiteX9" fmla="*/ 9150246 w 9204580"/>
              <a:gd name="connsiteY9" fmla="*/ 6862762 h 6867508"/>
              <a:gd name="connsiteX10" fmla="*/ 0 w 9204580"/>
              <a:gd name="connsiteY10" fmla="*/ 6867508 h 6867508"/>
              <a:gd name="connsiteX11" fmla="*/ 6255 w 9204580"/>
              <a:gd name="connsiteY11" fmla="*/ 141 h 6867508"/>
              <a:gd name="connsiteX0" fmla="*/ 6255 w 9206344"/>
              <a:gd name="connsiteY0" fmla="*/ 141 h 6867508"/>
              <a:gd name="connsiteX1" fmla="*/ 4578245 w 9206344"/>
              <a:gd name="connsiteY1" fmla="*/ 0 h 6867508"/>
              <a:gd name="connsiteX2" fmla="*/ 9045470 w 9206344"/>
              <a:gd name="connsiteY2" fmla="*/ 2381 h 6867508"/>
              <a:gd name="connsiteX3" fmla="*/ 9050232 w 9206344"/>
              <a:gd name="connsiteY3" fmla="*/ 109537 h 6867508"/>
              <a:gd name="connsiteX4" fmla="*/ 6949969 w 9206344"/>
              <a:gd name="connsiteY4" fmla="*/ 109537 h 6867508"/>
              <a:gd name="connsiteX5" fmla="*/ 6923775 w 9206344"/>
              <a:gd name="connsiteY5" fmla="*/ 1095375 h 6867508"/>
              <a:gd name="connsiteX6" fmla="*/ 9050233 w 9206344"/>
              <a:gd name="connsiteY6" fmla="*/ 1057275 h 6867508"/>
              <a:gd name="connsiteX7" fmla="*/ 9045470 w 9206344"/>
              <a:gd name="connsiteY7" fmla="*/ 2381 h 6867508"/>
              <a:gd name="connsiteX8" fmla="*/ 9150235 w 9206344"/>
              <a:gd name="connsiteY8" fmla="*/ 141 h 6867508"/>
              <a:gd name="connsiteX9" fmla="*/ 9150246 w 9206344"/>
              <a:gd name="connsiteY9" fmla="*/ 6862762 h 6867508"/>
              <a:gd name="connsiteX10" fmla="*/ 0 w 9206344"/>
              <a:gd name="connsiteY10" fmla="*/ 6867508 h 6867508"/>
              <a:gd name="connsiteX11" fmla="*/ 6255 w 920634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8995463 w 9204404"/>
              <a:gd name="connsiteY3" fmla="*/ 80962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5631"/>
              <a:gd name="connsiteY0" fmla="*/ 142 h 6867509"/>
              <a:gd name="connsiteX1" fmla="*/ 4578245 w 9205631"/>
              <a:gd name="connsiteY1" fmla="*/ 1 h 6867509"/>
              <a:gd name="connsiteX2" fmla="*/ 9045470 w 9205631"/>
              <a:gd name="connsiteY2" fmla="*/ 2382 h 6867509"/>
              <a:gd name="connsiteX3" fmla="*/ 8995463 w 9205631"/>
              <a:gd name="connsiteY3" fmla="*/ 80963 h 6867509"/>
              <a:gd name="connsiteX4" fmla="*/ 6949969 w 9205631"/>
              <a:gd name="connsiteY4" fmla="*/ 109538 h 6867509"/>
              <a:gd name="connsiteX5" fmla="*/ 6949969 w 9205631"/>
              <a:gd name="connsiteY5" fmla="*/ 1057276 h 6867509"/>
              <a:gd name="connsiteX6" fmla="*/ 9050233 w 9205631"/>
              <a:gd name="connsiteY6" fmla="*/ 1057276 h 6867509"/>
              <a:gd name="connsiteX7" fmla="*/ 9050232 w 9205631"/>
              <a:gd name="connsiteY7" fmla="*/ 0 h 6867509"/>
              <a:gd name="connsiteX8" fmla="*/ 9150235 w 9205631"/>
              <a:gd name="connsiteY8" fmla="*/ 142 h 6867509"/>
              <a:gd name="connsiteX9" fmla="*/ 9150246 w 9205631"/>
              <a:gd name="connsiteY9" fmla="*/ 6862763 h 6867509"/>
              <a:gd name="connsiteX10" fmla="*/ 0 w 9205631"/>
              <a:gd name="connsiteY10" fmla="*/ 6867509 h 6867509"/>
              <a:gd name="connsiteX11" fmla="*/ 6255 w 9205631"/>
              <a:gd name="connsiteY11" fmla="*/ 142 h 6867509"/>
              <a:gd name="connsiteX0" fmla="*/ 6255 w 9211483"/>
              <a:gd name="connsiteY0" fmla="*/ 142 h 6867509"/>
              <a:gd name="connsiteX1" fmla="*/ 4578245 w 9211483"/>
              <a:gd name="connsiteY1" fmla="*/ 1 h 6867509"/>
              <a:gd name="connsiteX2" fmla="*/ 9045470 w 9211483"/>
              <a:gd name="connsiteY2" fmla="*/ 2382 h 6867509"/>
              <a:gd name="connsiteX3" fmla="*/ 8995463 w 9211483"/>
              <a:gd name="connsiteY3" fmla="*/ 80963 h 6867509"/>
              <a:gd name="connsiteX4" fmla="*/ 6949969 w 9211483"/>
              <a:gd name="connsiteY4" fmla="*/ 109538 h 6867509"/>
              <a:gd name="connsiteX5" fmla="*/ 6949969 w 9211483"/>
              <a:gd name="connsiteY5" fmla="*/ 1057276 h 6867509"/>
              <a:gd name="connsiteX6" fmla="*/ 9050233 w 9211483"/>
              <a:gd name="connsiteY6" fmla="*/ 1057276 h 6867509"/>
              <a:gd name="connsiteX7" fmla="*/ 9066901 w 9211483"/>
              <a:gd name="connsiteY7" fmla="*/ 147640 h 6867509"/>
              <a:gd name="connsiteX8" fmla="*/ 9050232 w 9211483"/>
              <a:gd name="connsiteY8" fmla="*/ 0 h 6867509"/>
              <a:gd name="connsiteX9" fmla="*/ 9150235 w 9211483"/>
              <a:gd name="connsiteY9" fmla="*/ 142 h 6867509"/>
              <a:gd name="connsiteX10" fmla="*/ 9150246 w 9211483"/>
              <a:gd name="connsiteY10" fmla="*/ 6862763 h 6867509"/>
              <a:gd name="connsiteX11" fmla="*/ 0 w 9211483"/>
              <a:gd name="connsiteY11" fmla="*/ 6867509 h 6867509"/>
              <a:gd name="connsiteX12" fmla="*/ 6255 w 9211483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5207"/>
              <a:gd name="connsiteY0" fmla="*/ 142 h 6867509"/>
              <a:gd name="connsiteX1" fmla="*/ 4578245 w 9205207"/>
              <a:gd name="connsiteY1" fmla="*/ 1 h 6867509"/>
              <a:gd name="connsiteX2" fmla="*/ 9045470 w 9205207"/>
              <a:gd name="connsiteY2" fmla="*/ 2382 h 6867509"/>
              <a:gd name="connsiteX3" fmla="*/ 8995463 w 9205207"/>
              <a:gd name="connsiteY3" fmla="*/ 80963 h 6867509"/>
              <a:gd name="connsiteX4" fmla="*/ 6949969 w 9205207"/>
              <a:gd name="connsiteY4" fmla="*/ 109538 h 6867509"/>
              <a:gd name="connsiteX5" fmla="*/ 6949969 w 9205207"/>
              <a:gd name="connsiteY5" fmla="*/ 1057276 h 6867509"/>
              <a:gd name="connsiteX6" fmla="*/ 9050233 w 9205207"/>
              <a:gd name="connsiteY6" fmla="*/ 1057276 h 6867509"/>
              <a:gd name="connsiteX7" fmla="*/ 9050233 w 9205207"/>
              <a:gd name="connsiteY7" fmla="*/ 109540 h 6867509"/>
              <a:gd name="connsiteX8" fmla="*/ 9050232 w 9205207"/>
              <a:gd name="connsiteY8" fmla="*/ 0 h 6867509"/>
              <a:gd name="connsiteX9" fmla="*/ 9150235 w 9205207"/>
              <a:gd name="connsiteY9" fmla="*/ 142 h 6867509"/>
              <a:gd name="connsiteX10" fmla="*/ 9150246 w 9205207"/>
              <a:gd name="connsiteY10" fmla="*/ 6862763 h 6867509"/>
              <a:gd name="connsiteX11" fmla="*/ 0 w 9205207"/>
              <a:gd name="connsiteY11" fmla="*/ 6867509 h 6867509"/>
              <a:gd name="connsiteX12" fmla="*/ 6255 w 9205207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1 h 6867508"/>
              <a:gd name="connsiteX1" fmla="*/ 4578245 w 9225698"/>
              <a:gd name="connsiteY1" fmla="*/ 0 h 6867508"/>
              <a:gd name="connsiteX2" fmla="*/ 9045470 w 9225698"/>
              <a:gd name="connsiteY2" fmla="*/ 2381 h 6867508"/>
              <a:gd name="connsiteX3" fmla="*/ 8995463 w 9225698"/>
              <a:gd name="connsiteY3" fmla="*/ 80962 h 6867508"/>
              <a:gd name="connsiteX4" fmla="*/ 6949969 w 9225698"/>
              <a:gd name="connsiteY4" fmla="*/ 109537 h 6867508"/>
              <a:gd name="connsiteX5" fmla="*/ 6949969 w 9225698"/>
              <a:gd name="connsiteY5" fmla="*/ 1057275 h 6867508"/>
              <a:gd name="connsiteX6" fmla="*/ 9050233 w 9225698"/>
              <a:gd name="connsiteY6" fmla="*/ 1057275 h 6867508"/>
              <a:gd name="connsiteX7" fmla="*/ 9050233 w 9225698"/>
              <a:gd name="connsiteY7" fmla="*/ 109539 h 6867508"/>
              <a:gd name="connsiteX8" fmla="*/ 9088332 w 9225698"/>
              <a:gd name="connsiteY8" fmla="*/ 2380 h 6867508"/>
              <a:gd name="connsiteX9" fmla="*/ 9150235 w 9225698"/>
              <a:gd name="connsiteY9" fmla="*/ 141 h 6867508"/>
              <a:gd name="connsiteX10" fmla="*/ 9150246 w 9225698"/>
              <a:gd name="connsiteY10" fmla="*/ 6862762 h 6867508"/>
              <a:gd name="connsiteX11" fmla="*/ 0 w 9225698"/>
              <a:gd name="connsiteY11" fmla="*/ 6867508 h 6867508"/>
              <a:gd name="connsiteX12" fmla="*/ 6255 w 9225698"/>
              <a:gd name="connsiteY12" fmla="*/ 141 h 6867508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11922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06778"/>
              <a:gd name="connsiteY0" fmla="*/ 142 h 6867509"/>
              <a:gd name="connsiteX1" fmla="*/ 4578245 w 9206778"/>
              <a:gd name="connsiteY1" fmla="*/ 1 h 6867509"/>
              <a:gd name="connsiteX2" fmla="*/ 9045470 w 9206778"/>
              <a:gd name="connsiteY2" fmla="*/ 2382 h 6867509"/>
              <a:gd name="connsiteX3" fmla="*/ 8995463 w 9206778"/>
              <a:gd name="connsiteY3" fmla="*/ 80963 h 6867509"/>
              <a:gd name="connsiteX4" fmla="*/ 6949969 w 9206778"/>
              <a:gd name="connsiteY4" fmla="*/ 109538 h 6867509"/>
              <a:gd name="connsiteX5" fmla="*/ 6949969 w 9206778"/>
              <a:gd name="connsiteY5" fmla="*/ 1057276 h 6867509"/>
              <a:gd name="connsiteX6" fmla="*/ 9050233 w 9206778"/>
              <a:gd name="connsiteY6" fmla="*/ 1057276 h 6867509"/>
              <a:gd name="connsiteX7" fmla="*/ 9050233 w 9206778"/>
              <a:gd name="connsiteY7" fmla="*/ 111922 h 6867509"/>
              <a:gd name="connsiteX8" fmla="*/ 9050232 w 9206778"/>
              <a:gd name="connsiteY8" fmla="*/ 0 h 6867509"/>
              <a:gd name="connsiteX9" fmla="*/ 9150235 w 9206778"/>
              <a:gd name="connsiteY9" fmla="*/ 142 h 6867509"/>
              <a:gd name="connsiteX10" fmla="*/ 9150246 w 9206778"/>
              <a:gd name="connsiteY10" fmla="*/ 6862763 h 6867509"/>
              <a:gd name="connsiteX11" fmla="*/ 0 w 9206778"/>
              <a:gd name="connsiteY11" fmla="*/ 6867509 h 6867509"/>
              <a:gd name="connsiteX12" fmla="*/ 6255 w 9206778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50232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50233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8809"/>
              <a:gd name="connsiteY0" fmla="*/ 59531 h 6926898"/>
              <a:gd name="connsiteX1" fmla="*/ 4578245 w 9178809"/>
              <a:gd name="connsiteY1" fmla="*/ 59390 h 6926898"/>
              <a:gd name="connsiteX2" fmla="*/ 9147864 w 9178809"/>
              <a:gd name="connsiteY2" fmla="*/ 61771 h 6926898"/>
              <a:gd name="connsiteX3" fmla="*/ 9052613 w 9178809"/>
              <a:gd name="connsiteY3" fmla="*/ 168928 h 6926898"/>
              <a:gd name="connsiteX4" fmla="*/ 6949969 w 9178809"/>
              <a:gd name="connsiteY4" fmla="*/ 168927 h 6926898"/>
              <a:gd name="connsiteX5" fmla="*/ 6949969 w 9178809"/>
              <a:gd name="connsiteY5" fmla="*/ 1116665 h 6926898"/>
              <a:gd name="connsiteX6" fmla="*/ 9050233 w 9178809"/>
              <a:gd name="connsiteY6" fmla="*/ 1116665 h 6926898"/>
              <a:gd name="connsiteX7" fmla="*/ 9050233 w 9178809"/>
              <a:gd name="connsiteY7" fmla="*/ 171311 h 6926898"/>
              <a:gd name="connsiteX8" fmla="*/ 9050232 w 9178809"/>
              <a:gd name="connsiteY8" fmla="*/ 18908 h 6926898"/>
              <a:gd name="connsiteX9" fmla="*/ 9178809 w 9178809"/>
              <a:gd name="connsiteY9" fmla="*/ 0 h 6926898"/>
              <a:gd name="connsiteX10" fmla="*/ 9150246 w 9178809"/>
              <a:gd name="connsiteY10" fmla="*/ 6922152 h 6926898"/>
              <a:gd name="connsiteX11" fmla="*/ 0 w 9178809"/>
              <a:gd name="connsiteY11" fmla="*/ 6926898 h 6926898"/>
              <a:gd name="connsiteX12" fmla="*/ 6255 w 9178809"/>
              <a:gd name="connsiteY12" fmla="*/ 59531 h 6926898"/>
              <a:gd name="connsiteX0" fmla="*/ 6255 w 9152615"/>
              <a:gd name="connsiteY0" fmla="*/ 40623 h 6907990"/>
              <a:gd name="connsiteX1" fmla="*/ 4578245 w 9152615"/>
              <a:gd name="connsiteY1" fmla="*/ 40482 h 6907990"/>
              <a:gd name="connsiteX2" fmla="*/ 9147864 w 9152615"/>
              <a:gd name="connsiteY2" fmla="*/ 42863 h 6907990"/>
              <a:gd name="connsiteX3" fmla="*/ 9052613 w 9152615"/>
              <a:gd name="connsiteY3" fmla="*/ 150020 h 6907990"/>
              <a:gd name="connsiteX4" fmla="*/ 6949969 w 9152615"/>
              <a:gd name="connsiteY4" fmla="*/ 150019 h 6907990"/>
              <a:gd name="connsiteX5" fmla="*/ 6949969 w 9152615"/>
              <a:gd name="connsiteY5" fmla="*/ 1097757 h 6907990"/>
              <a:gd name="connsiteX6" fmla="*/ 9050233 w 9152615"/>
              <a:gd name="connsiteY6" fmla="*/ 1097757 h 6907990"/>
              <a:gd name="connsiteX7" fmla="*/ 9050233 w 9152615"/>
              <a:gd name="connsiteY7" fmla="*/ 152403 h 6907990"/>
              <a:gd name="connsiteX8" fmla="*/ 9050232 w 9152615"/>
              <a:gd name="connsiteY8" fmla="*/ 0 h 6907990"/>
              <a:gd name="connsiteX9" fmla="*/ 9152615 w 9152615"/>
              <a:gd name="connsiteY9" fmla="*/ 40623 h 6907990"/>
              <a:gd name="connsiteX10" fmla="*/ 9150246 w 9152615"/>
              <a:gd name="connsiteY10" fmla="*/ 6903244 h 6907990"/>
              <a:gd name="connsiteX11" fmla="*/ 0 w 9152615"/>
              <a:gd name="connsiteY11" fmla="*/ 6907990 h 6907990"/>
              <a:gd name="connsiteX12" fmla="*/ 6255 w 9152615"/>
              <a:gd name="connsiteY12" fmla="*/ 40623 h 6907990"/>
              <a:gd name="connsiteX0" fmla="*/ 6255 w 9174046"/>
              <a:gd name="connsiteY0" fmla="*/ 40623 h 6907990"/>
              <a:gd name="connsiteX1" fmla="*/ 4578245 w 9174046"/>
              <a:gd name="connsiteY1" fmla="*/ 40482 h 6907990"/>
              <a:gd name="connsiteX2" fmla="*/ 9147864 w 9174046"/>
              <a:gd name="connsiteY2" fmla="*/ 42863 h 6907990"/>
              <a:gd name="connsiteX3" fmla="*/ 9052613 w 9174046"/>
              <a:gd name="connsiteY3" fmla="*/ 150020 h 6907990"/>
              <a:gd name="connsiteX4" fmla="*/ 6949969 w 9174046"/>
              <a:gd name="connsiteY4" fmla="*/ 150019 h 6907990"/>
              <a:gd name="connsiteX5" fmla="*/ 6949969 w 9174046"/>
              <a:gd name="connsiteY5" fmla="*/ 1097757 h 6907990"/>
              <a:gd name="connsiteX6" fmla="*/ 9050233 w 9174046"/>
              <a:gd name="connsiteY6" fmla="*/ 1097757 h 6907990"/>
              <a:gd name="connsiteX7" fmla="*/ 9050233 w 9174046"/>
              <a:gd name="connsiteY7" fmla="*/ 152403 h 6907990"/>
              <a:gd name="connsiteX8" fmla="*/ 9050232 w 9174046"/>
              <a:gd name="connsiteY8" fmla="*/ 0 h 6907990"/>
              <a:gd name="connsiteX9" fmla="*/ 9174046 w 9174046"/>
              <a:gd name="connsiteY9" fmla="*/ 4904 h 6907990"/>
              <a:gd name="connsiteX10" fmla="*/ 9150246 w 9174046"/>
              <a:gd name="connsiteY10" fmla="*/ 6903244 h 6907990"/>
              <a:gd name="connsiteX11" fmla="*/ 0 w 9174046"/>
              <a:gd name="connsiteY11" fmla="*/ 6907990 h 6907990"/>
              <a:gd name="connsiteX12" fmla="*/ 6255 w 9174046"/>
              <a:gd name="connsiteY12" fmla="*/ 40623 h 6907990"/>
              <a:gd name="connsiteX0" fmla="*/ 6255 w 9152614"/>
              <a:gd name="connsiteY0" fmla="*/ 40623 h 6907990"/>
              <a:gd name="connsiteX1" fmla="*/ 4578245 w 9152614"/>
              <a:gd name="connsiteY1" fmla="*/ 40482 h 6907990"/>
              <a:gd name="connsiteX2" fmla="*/ 9147864 w 9152614"/>
              <a:gd name="connsiteY2" fmla="*/ 42863 h 6907990"/>
              <a:gd name="connsiteX3" fmla="*/ 9052613 w 9152614"/>
              <a:gd name="connsiteY3" fmla="*/ 150020 h 6907990"/>
              <a:gd name="connsiteX4" fmla="*/ 6949969 w 9152614"/>
              <a:gd name="connsiteY4" fmla="*/ 150019 h 6907990"/>
              <a:gd name="connsiteX5" fmla="*/ 6949969 w 9152614"/>
              <a:gd name="connsiteY5" fmla="*/ 1097757 h 6907990"/>
              <a:gd name="connsiteX6" fmla="*/ 9050233 w 9152614"/>
              <a:gd name="connsiteY6" fmla="*/ 1097757 h 6907990"/>
              <a:gd name="connsiteX7" fmla="*/ 9050233 w 9152614"/>
              <a:gd name="connsiteY7" fmla="*/ 152403 h 6907990"/>
              <a:gd name="connsiteX8" fmla="*/ 9050232 w 9152614"/>
              <a:gd name="connsiteY8" fmla="*/ 0 h 6907990"/>
              <a:gd name="connsiteX9" fmla="*/ 9152614 w 9152614"/>
              <a:gd name="connsiteY9" fmla="*/ 35860 h 6907990"/>
              <a:gd name="connsiteX10" fmla="*/ 9150246 w 9152614"/>
              <a:gd name="connsiteY10" fmla="*/ 6903244 h 6907990"/>
              <a:gd name="connsiteX11" fmla="*/ 0 w 9152614"/>
              <a:gd name="connsiteY11" fmla="*/ 6907990 h 6907990"/>
              <a:gd name="connsiteX12" fmla="*/ 6255 w 9152614"/>
              <a:gd name="connsiteY12" fmla="*/ 40623 h 690799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9152614 w 9152614"/>
              <a:gd name="connsiteY8" fmla="*/ 0 h 6872130"/>
              <a:gd name="connsiteX9" fmla="*/ 9150246 w 9152614"/>
              <a:gd name="connsiteY9" fmla="*/ 6867384 h 6872130"/>
              <a:gd name="connsiteX10" fmla="*/ 0 w 9152614"/>
              <a:gd name="connsiteY10" fmla="*/ 6872130 h 6872130"/>
              <a:gd name="connsiteX11" fmla="*/ 6255 w 9152614"/>
              <a:gd name="connsiteY11" fmla="*/ 4763 h 6872130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47864 w 9152614"/>
              <a:gd name="connsiteY2" fmla="*/ 2381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31195 w 9152614"/>
              <a:gd name="connsiteY7" fmla="*/ 20478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114527 w 9152614"/>
              <a:gd name="connsiteY6" fmla="*/ 1054894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07158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11780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0233 w 9152614"/>
              <a:gd name="connsiteY6" fmla="*/ 111780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76427 w 9152614"/>
              <a:gd name="connsiteY6" fmla="*/ 126067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2615 w 9152614"/>
              <a:gd name="connsiteY6" fmla="*/ 114161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93096 w 9152614"/>
              <a:gd name="connsiteY6" fmla="*/ 118924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47852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78809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07106 w 9152614"/>
              <a:gd name="connsiteY3" fmla="*/ 57010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7588 w 9152614"/>
              <a:gd name="connsiteY3" fmla="*/ 111778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8083444 w 9152614"/>
              <a:gd name="connsiteY3" fmla="*/ 57012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095475 w 9152614"/>
              <a:gd name="connsiteY8" fmla="*/ 35581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85950 w 9152614"/>
              <a:gd name="connsiteY3" fmla="*/ 73681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107386 w 9152614"/>
              <a:gd name="connsiteY8" fmla="*/ 1808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46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09763 w 9152614"/>
              <a:gd name="connsiteY9" fmla="*/ 59393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14525 w 9152614"/>
              <a:gd name="connsiteY9" fmla="*/ 107018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7587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49 w 9152614"/>
              <a:gd name="connsiteY3" fmla="*/ 11654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8645419 w 9152614"/>
              <a:gd name="connsiteY2" fmla="*/ 2243 h 6869749"/>
              <a:gd name="connsiteX3" fmla="*/ 9150245 w 9152614"/>
              <a:gd name="connsiteY3" fmla="*/ 2241 h 6869749"/>
              <a:gd name="connsiteX4" fmla="*/ 9047849 w 9152614"/>
              <a:gd name="connsiteY4" fmla="*/ 116544 h 6869749"/>
              <a:gd name="connsiteX5" fmla="*/ 6949969 w 9152614"/>
              <a:gd name="connsiteY5" fmla="*/ 114159 h 6869749"/>
              <a:gd name="connsiteX6" fmla="*/ 6952349 w 9152614"/>
              <a:gd name="connsiteY6" fmla="*/ 1059516 h 6869749"/>
              <a:gd name="connsiteX7" fmla="*/ 9047853 w 9152614"/>
              <a:gd name="connsiteY7" fmla="*/ 1059516 h 6869749"/>
              <a:gd name="connsiteX8" fmla="*/ 9047854 w 9152614"/>
              <a:gd name="connsiteY8" fmla="*/ 116544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4901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6255 w 9152614"/>
              <a:gd name="connsiteY12" fmla="*/ 4901 h 6872268"/>
              <a:gd name="connsiteX0" fmla="*/ 3874 w 9152614"/>
              <a:gd name="connsiteY0" fmla="*/ 2520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3874 w 9152614"/>
              <a:gd name="connsiteY12" fmla="*/ 2520 h 6872268"/>
              <a:gd name="connsiteX0" fmla="*/ 12187 w 9160927"/>
              <a:gd name="connsiteY0" fmla="*/ 2520 h 6880580"/>
              <a:gd name="connsiteX1" fmla="*/ 4586558 w 9160927"/>
              <a:gd name="connsiteY1" fmla="*/ 4760 h 6880580"/>
              <a:gd name="connsiteX2" fmla="*/ 9158557 w 9160927"/>
              <a:gd name="connsiteY2" fmla="*/ 0 h 6880580"/>
              <a:gd name="connsiteX3" fmla="*/ 9158558 w 9160927"/>
              <a:gd name="connsiteY3" fmla="*/ 4760 h 6880580"/>
              <a:gd name="connsiteX4" fmla="*/ 9056162 w 9160927"/>
              <a:gd name="connsiteY4" fmla="*/ 119063 h 6880580"/>
              <a:gd name="connsiteX5" fmla="*/ 6958282 w 9160927"/>
              <a:gd name="connsiteY5" fmla="*/ 116678 h 6880580"/>
              <a:gd name="connsiteX6" fmla="*/ 6960662 w 9160927"/>
              <a:gd name="connsiteY6" fmla="*/ 1062035 h 6880580"/>
              <a:gd name="connsiteX7" fmla="*/ 9056166 w 9160927"/>
              <a:gd name="connsiteY7" fmla="*/ 1062035 h 6880580"/>
              <a:gd name="connsiteX8" fmla="*/ 9056167 w 9160927"/>
              <a:gd name="connsiteY8" fmla="*/ 119063 h 6880580"/>
              <a:gd name="connsiteX9" fmla="*/ 9160927 w 9160927"/>
              <a:gd name="connsiteY9" fmla="*/ 2519 h 6880580"/>
              <a:gd name="connsiteX10" fmla="*/ 9158559 w 9160927"/>
              <a:gd name="connsiteY10" fmla="*/ 6867522 h 6880580"/>
              <a:gd name="connsiteX11" fmla="*/ 0 w 9160927"/>
              <a:gd name="connsiteY11" fmla="*/ 6880580 h 6880580"/>
              <a:gd name="connsiteX12" fmla="*/ 12187 w 9160927"/>
              <a:gd name="connsiteY12" fmla="*/ 2520 h 6880580"/>
              <a:gd name="connsiteX0" fmla="*/ 12187 w 9175212"/>
              <a:gd name="connsiteY0" fmla="*/ 2520 h 6880580"/>
              <a:gd name="connsiteX1" fmla="*/ 4586558 w 9175212"/>
              <a:gd name="connsiteY1" fmla="*/ 4760 h 6880580"/>
              <a:gd name="connsiteX2" fmla="*/ 9158557 w 9175212"/>
              <a:gd name="connsiteY2" fmla="*/ 0 h 6880580"/>
              <a:gd name="connsiteX3" fmla="*/ 9158558 w 9175212"/>
              <a:gd name="connsiteY3" fmla="*/ 4760 h 6880580"/>
              <a:gd name="connsiteX4" fmla="*/ 9056162 w 9175212"/>
              <a:gd name="connsiteY4" fmla="*/ 119063 h 6880580"/>
              <a:gd name="connsiteX5" fmla="*/ 6958282 w 9175212"/>
              <a:gd name="connsiteY5" fmla="*/ 116678 h 6880580"/>
              <a:gd name="connsiteX6" fmla="*/ 6960662 w 9175212"/>
              <a:gd name="connsiteY6" fmla="*/ 1062035 h 6880580"/>
              <a:gd name="connsiteX7" fmla="*/ 9056166 w 9175212"/>
              <a:gd name="connsiteY7" fmla="*/ 1062035 h 6880580"/>
              <a:gd name="connsiteX8" fmla="*/ 9056167 w 9175212"/>
              <a:gd name="connsiteY8" fmla="*/ 119063 h 6880580"/>
              <a:gd name="connsiteX9" fmla="*/ 9160927 w 9175212"/>
              <a:gd name="connsiteY9" fmla="*/ 2519 h 6880580"/>
              <a:gd name="connsiteX10" fmla="*/ 9175184 w 9175212"/>
              <a:gd name="connsiteY10" fmla="*/ 6875835 h 6880580"/>
              <a:gd name="connsiteX11" fmla="*/ 0 w 9175212"/>
              <a:gd name="connsiteY11" fmla="*/ 6880580 h 6880580"/>
              <a:gd name="connsiteX12" fmla="*/ 12187 w 9175212"/>
              <a:gd name="connsiteY12" fmla="*/ 2520 h 6880580"/>
              <a:gd name="connsiteX0" fmla="*/ 12187 w 9849834"/>
              <a:gd name="connsiteY0" fmla="*/ 343708 h 7221768"/>
              <a:gd name="connsiteX1" fmla="*/ 4586558 w 9849834"/>
              <a:gd name="connsiteY1" fmla="*/ 345948 h 7221768"/>
              <a:gd name="connsiteX2" fmla="*/ 9158557 w 9849834"/>
              <a:gd name="connsiteY2" fmla="*/ 341188 h 7221768"/>
              <a:gd name="connsiteX3" fmla="*/ 9158558 w 9849834"/>
              <a:gd name="connsiteY3" fmla="*/ 345948 h 7221768"/>
              <a:gd name="connsiteX4" fmla="*/ 9056162 w 9849834"/>
              <a:gd name="connsiteY4" fmla="*/ 460251 h 7221768"/>
              <a:gd name="connsiteX5" fmla="*/ 6958282 w 9849834"/>
              <a:gd name="connsiteY5" fmla="*/ 457866 h 7221768"/>
              <a:gd name="connsiteX6" fmla="*/ 6960662 w 9849834"/>
              <a:gd name="connsiteY6" fmla="*/ 1403223 h 7221768"/>
              <a:gd name="connsiteX7" fmla="*/ 9056166 w 9849834"/>
              <a:gd name="connsiteY7" fmla="*/ 1403223 h 7221768"/>
              <a:gd name="connsiteX8" fmla="*/ 9056167 w 9849834"/>
              <a:gd name="connsiteY8" fmla="*/ 460251 h 7221768"/>
              <a:gd name="connsiteX9" fmla="*/ 9160927 w 9849834"/>
              <a:gd name="connsiteY9" fmla="*/ 343707 h 7221768"/>
              <a:gd name="connsiteX10" fmla="*/ 9158557 w 9849834"/>
              <a:gd name="connsiteY10" fmla="*/ 570394 h 7221768"/>
              <a:gd name="connsiteX11" fmla="*/ 9175184 w 9849834"/>
              <a:gd name="connsiteY11" fmla="*/ 7217023 h 7221768"/>
              <a:gd name="connsiteX12" fmla="*/ 0 w 9849834"/>
              <a:gd name="connsiteY12" fmla="*/ 7221768 h 7221768"/>
              <a:gd name="connsiteX13" fmla="*/ 12187 w 9849834"/>
              <a:gd name="connsiteY13" fmla="*/ 343708 h 7221768"/>
              <a:gd name="connsiteX0" fmla="*/ 12187 w 9175184"/>
              <a:gd name="connsiteY0" fmla="*/ 343708 h 7221768"/>
              <a:gd name="connsiteX1" fmla="*/ 4586558 w 9175184"/>
              <a:gd name="connsiteY1" fmla="*/ 345948 h 7221768"/>
              <a:gd name="connsiteX2" fmla="*/ 9158557 w 9175184"/>
              <a:gd name="connsiteY2" fmla="*/ 341188 h 7221768"/>
              <a:gd name="connsiteX3" fmla="*/ 9158558 w 9175184"/>
              <a:gd name="connsiteY3" fmla="*/ 345948 h 7221768"/>
              <a:gd name="connsiteX4" fmla="*/ 9056162 w 9175184"/>
              <a:gd name="connsiteY4" fmla="*/ 460251 h 7221768"/>
              <a:gd name="connsiteX5" fmla="*/ 6958282 w 9175184"/>
              <a:gd name="connsiteY5" fmla="*/ 457866 h 7221768"/>
              <a:gd name="connsiteX6" fmla="*/ 6960662 w 9175184"/>
              <a:gd name="connsiteY6" fmla="*/ 1403223 h 7221768"/>
              <a:gd name="connsiteX7" fmla="*/ 9056166 w 9175184"/>
              <a:gd name="connsiteY7" fmla="*/ 1403223 h 7221768"/>
              <a:gd name="connsiteX8" fmla="*/ 9056167 w 9175184"/>
              <a:gd name="connsiteY8" fmla="*/ 460251 h 7221768"/>
              <a:gd name="connsiteX9" fmla="*/ 9160927 w 9175184"/>
              <a:gd name="connsiteY9" fmla="*/ 343707 h 7221768"/>
              <a:gd name="connsiteX10" fmla="*/ 9158557 w 9175184"/>
              <a:gd name="connsiteY10" fmla="*/ 570394 h 7221768"/>
              <a:gd name="connsiteX11" fmla="*/ 9175184 w 9175184"/>
              <a:gd name="connsiteY11" fmla="*/ 7217023 h 7221768"/>
              <a:gd name="connsiteX12" fmla="*/ 0 w 9175184"/>
              <a:gd name="connsiteY12" fmla="*/ 7221768 h 7221768"/>
              <a:gd name="connsiteX13" fmla="*/ 12187 w 9175184"/>
              <a:gd name="connsiteY13" fmla="*/ 343708 h 7221768"/>
              <a:gd name="connsiteX0" fmla="*/ 12187 w 9865171"/>
              <a:gd name="connsiteY0" fmla="*/ 99019 h 6977079"/>
              <a:gd name="connsiteX1" fmla="*/ 4586558 w 9865171"/>
              <a:gd name="connsiteY1" fmla="*/ 101259 h 6977079"/>
              <a:gd name="connsiteX2" fmla="*/ 9158557 w 9865171"/>
              <a:gd name="connsiteY2" fmla="*/ 96499 h 6977079"/>
              <a:gd name="connsiteX3" fmla="*/ 9158558 w 9865171"/>
              <a:gd name="connsiteY3" fmla="*/ 101259 h 6977079"/>
              <a:gd name="connsiteX4" fmla="*/ 9056162 w 9865171"/>
              <a:gd name="connsiteY4" fmla="*/ 215562 h 6977079"/>
              <a:gd name="connsiteX5" fmla="*/ 6958282 w 9865171"/>
              <a:gd name="connsiteY5" fmla="*/ 213177 h 6977079"/>
              <a:gd name="connsiteX6" fmla="*/ 6960662 w 9865171"/>
              <a:gd name="connsiteY6" fmla="*/ 1158534 h 6977079"/>
              <a:gd name="connsiteX7" fmla="*/ 9056166 w 9865171"/>
              <a:gd name="connsiteY7" fmla="*/ 1158534 h 6977079"/>
              <a:gd name="connsiteX8" fmla="*/ 9056167 w 9865171"/>
              <a:gd name="connsiteY8" fmla="*/ 215562 h 6977079"/>
              <a:gd name="connsiteX9" fmla="*/ 9160927 w 9865171"/>
              <a:gd name="connsiteY9" fmla="*/ 99018 h 6977079"/>
              <a:gd name="connsiteX10" fmla="*/ 9865139 w 9865171"/>
              <a:gd name="connsiteY10" fmla="*/ 749654 h 6977079"/>
              <a:gd name="connsiteX11" fmla="*/ 9175184 w 9865171"/>
              <a:gd name="connsiteY11" fmla="*/ 6972334 h 6977079"/>
              <a:gd name="connsiteX12" fmla="*/ 0 w 9865171"/>
              <a:gd name="connsiteY12" fmla="*/ 6977079 h 6977079"/>
              <a:gd name="connsiteX13" fmla="*/ 12187 w 9865171"/>
              <a:gd name="connsiteY13" fmla="*/ 99019 h 6977079"/>
              <a:gd name="connsiteX0" fmla="*/ 12187 w 9865171"/>
              <a:gd name="connsiteY0" fmla="*/ 2520 h 6880580"/>
              <a:gd name="connsiteX1" fmla="*/ 4586558 w 9865171"/>
              <a:gd name="connsiteY1" fmla="*/ 4760 h 6880580"/>
              <a:gd name="connsiteX2" fmla="*/ 9158557 w 9865171"/>
              <a:gd name="connsiteY2" fmla="*/ 0 h 6880580"/>
              <a:gd name="connsiteX3" fmla="*/ 9158558 w 9865171"/>
              <a:gd name="connsiteY3" fmla="*/ 4760 h 6880580"/>
              <a:gd name="connsiteX4" fmla="*/ 9056162 w 9865171"/>
              <a:gd name="connsiteY4" fmla="*/ 119063 h 6880580"/>
              <a:gd name="connsiteX5" fmla="*/ 6958282 w 9865171"/>
              <a:gd name="connsiteY5" fmla="*/ 116678 h 6880580"/>
              <a:gd name="connsiteX6" fmla="*/ 6960662 w 9865171"/>
              <a:gd name="connsiteY6" fmla="*/ 1062035 h 6880580"/>
              <a:gd name="connsiteX7" fmla="*/ 9056166 w 9865171"/>
              <a:gd name="connsiteY7" fmla="*/ 1062035 h 6880580"/>
              <a:gd name="connsiteX8" fmla="*/ 9056167 w 9865171"/>
              <a:gd name="connsiteY8" fmla="*/ 119063 h 6880580"/>
              <a:gd name="connsiteX9" fmla="*/ 9160927 w 9865171"/>
              <a:gd name="connsiteY9" fmla="*/ 2519 h 6880580"/>
              <a:gd name="connsiteX10" fmla="*/ 9865139 w 9865171"/>
              <a:gd name="connsiteY10" fmla="*/ 653155 h 6880580"/>
              <a:gd name="connsiteX11" fmla="*/ 9175184 w 9865171"/>
              <a:gd name="connsiteY11" fmla="*/ 6875835 h 6880580"/>
              <a:gd name="connsiteX12" fmla="*/ 0 w 9865171"/>
              <a:gd name="connsiteY12" fmla="*/ 6880580 h 6880580"/>
              <a:gd name="connsiteX13" fmla="*/ 12187 w 9865171"/>
              <a:gd name="connsiteY13" fmla="*/ 2520 h 6880580"/>
              <a:gd name="connsiteX0" fmla="*/ 12187 w 9865139"/>
              <a:gd name="connsiteY0" fmla="*/ 2520 h 6880580"/>
              <a:gd name="connsiteX1" fmla="*/ 4586558 w 9865139"/>
              <a:gd name="connsiteY1" fmla="*/ 4760 h 6880580"/>
              <a:gd name="connsiteX2" fmla="*/ 9158557 w 9865139"/>
              <a:gd name="connsiteY2" fmla="*/ 0 h 6880580"/>
              <a:gd name="connsiteX3" fmla="*/ 9158558 w 9865139"/>
              <a:gd name="connsiteY3" fmla="*/ 4760 h 6880580"/>
              <a:gd name="connsiteX4" fmla="*/ 9056162 w 9865139"/>
              <a:gd name="connsiteY4" fmla="*/ 119063 h 6880580"/>
              <a:gd name="connsiteX5" fmla="*/ 6958282 w 9865139"/>
              <a:gd name="connsiteY5" fmla="*/ 116678 h 6880580"/>
              <a:gd name="connsiteX6" fmla="*/ 6960662 w 9865139"/>
              <a:gd name="connsiteY6" fmla="*/ 1062035 h 6880580"/>
              <a:gd name="connsiteX7" fmla="*/ 9056166 w 9865139"/>
              <a:gd name="connsiteY7" fmla="*/ 1062035 h 6880580"/>
              <a:gd name="connsiteX8" fmla="*/ 9056167 w 9865139"/>
              <a:gd name="connsiteY8" fmla="*/ 119063 h 6880580"/>
              <a:gd name="connsiteX9" fmla="*/ 9160927 w 9865139"/>
              <a:gd name="connsiteY9" fmla="*/ 2519 h 6880580"/>
              <a:gd name="connsiteX10" fmla="*/ 9865139 w 9865139"/>
              <a:gd name="connsiteY10" fmla="*/ 653155 h 6880580"/>
              <a:gd name="connsiteX11" fmla="*/ 9175184 w 9865139"/>
              <a:gd name="connsiteY11" fmla="*/ 6875835 h 6880580"/>
              <a:gd name="connsiteX12" fmla="*/ 0 w 9865139"/>
              <a:gd name="connsiteY12" fmla="*/ 6880580 h 6880580"/>
              <a:gd name="connsiteX13" fmla="*/ 12187 w 9865139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75182 w 9175184"/>
              <a:gd name="connsiteY10" fmla="*/ 96202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  <a:gd name="connsiteX0" fmla="*/ 12187 w 9333124"/>
              <a:gd name="connsiteY0" fmla="*/ 2520 h 6880580"/>
              <a:gd name="connsiteX1" fmla="*/ 4586558 w 9333124"/>
              <a:gd name="connsiteY1" fmla="*/ 4760 h 6880580"/>
              <a:gd name="connsiteX2" fmla="*/ 9158557 w 9333124"/>
              <a:gd name="connsiteY2" fmla="*/ 0 h 6880580"/>
              <a:gd name="connsiteX3" fmla="*/ 9158558 w 9333124"/>
              <a:gd name="connsiteY3" fmla="*/ 4760 h 6880580"/>
              <a:gd name="connsiteX4" fmla="*/ 9056162 w 9333124"/>
              <a:gd name="connsiteY4" fmla="*/ 119063 h 6880580"/>
              <a:gd name="connsiteX5" fmla="*/ 6958282 w 9333124"/>
              <a:gd name="connsiteY5" fmla="*/ 116678 h 6880580"/>
              <a:gd name="connsiteX6" fmla="*/ 6960662 w 9333124"/>
              <a:gd name="connsiteY6" fmla="*/ 1062035 h 6880580"/>
              <a:gd name="connsiteX7" fmla="*/ 9056166 w 9333124"/>
              <a:gd name="connsiteY7" fmla="*/ 1062035 h 6880580"/>
              <a:gd name="connsiteX8" fmla="*/ 9056167 w 9333124"/>
              <a:gd name="connsiteY8" fmla="*/ 119063 h 6880580"/>
              <a:gd name="connsiteX9" fmla="*/ 9160927 w 9333124"/>
              <a:gd name="connsiteY9" fmla="*/ 2519 h 6880580"/>
              <a:gd name="connsiteX10" fmla="*/ 9333124 w 9333124"/>
              <a:gd name="connsiteY10" fmla="*/ 337271 h 6880580"/>
              <a:gd name="connsiteX11" fmla="*/ 9175184 w 9333124"/>
              <a:gd name="connsiteY11" fmla="*/ 6875835 h 6880580"/>
              <a:gd name="connsiteX12" fmla="*/ 0 w 9333124"/>
              <a:gd name="connsiteY12" fmla="*/ 6880580 h 6880580"/>
              <a:gd name="connsiteX13" fmla="*/ 12187 w 9333124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66869 w 9175184"/>
              <a:gd name="connsiteY10" fmla="*/ 129453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75184" h="6880580">
                <a:moveTo>
                  <a:pt x="12187" y="2520"/>
                </a:moveTo>
                <a:lnTo>
                  <a:pt x="4586558" y="4760"/>
                </a:lnTo>
                <a:lnTo>
                  <a:pt x="9158557" y="0"/>
                </a:lnTo>
                <a:cubicBezTo>
                  <a:pt x="9158557" y="1587"/>
                  <a:pt x="9158558" y="3173"/>
                  <a:pt x="9158558" y="4760"/>
                </a:cubicBezTo>
                <a:lnTo>
                  <a:pt x="9056162" y="119063"/>
                </a:lnTo>
                <a:lnTo>
                  <a:pt x="6958282" y="116678"/>
                </a:lnTo>
                <a:cubicBezTo>
                  <a:pt x="6959075" y="431797"/>
                  <a:pt x="6959869" y="746916"/>
                  <a:pt x="6960662" y="1062035"/>
                </a:cubicBezTo>
                <a:lnTo>
                  <a:pt x="9056166" y="1062035"/>
                </a:lnTo>
                <a:cubicBezTo>
                  <a:pt x="9056166" y="747711"/>
                  <a:pt x="9056167" y="433387"/>
                  <a:pt x="9056167" y="119063"/>
                </a:cubicBezTo>
                <a:lnTo>
                  <a:pt x="9160927" y="2519"/>
                </a:lnTo>
                <a:lnTo>
                  <a:pt x="9166869" y="129453"/>
                </a:lnTo>
                <a:cubicBezTo>
                  <a:pt x="9166870" y="2389331"/>
                  <a:pt x="9175183" y="4615957"/>
                  <a:pt x="9175184" y="6875835"/>
                </a:cubicBezTo>
                <a:lnTo>
                  <a:pt x="0" y="6880580"/>
                </a:lnTo>
                <a:cubicBezTo>
                  <a:pt x="1291" y="4590664"/>
                  <a:pt x="10896" y="2292436"/>
                  <a:pt x="12187" y="2520"/>
                </a:cubicBezTo>
                <a:close/>
              </a:path>
            </a:pathLst>
          </a:cu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 noProof="0" smtClean="0"/>
              <a:t>Bildplatzhalter</a:t>
            </a:r>
            <a:endParaRPr lang="en-GB" noProof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Marginalie&#10;Marginal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46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&#10;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50825" y="1268413"/>
            <a:ext cx="3169048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3563541" y="1268413"/>
            <a:ext cx="3169047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72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&#10;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6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477" y="188640"/>
            <a:ext cx="6481763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477" y="1268413"/>
            <a:ext cx="6481763" cy="504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539750" y="6597651"/>
            <a:ext cx="719882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259632" y="6597651"/>
            <a:ext cx="5472956" cy="1606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250825" y="6597650"/>
            <a:ext cx="288925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69" name="Rechteck 1068"/>
          <p:cNvSpPr/>
          <p:nvPr/>
        </p:nvSpPr>
        <p:spPr bwMode="gray">
          <a:xfrm>
            <a:off x="7092950" y="6714000"/>
            <a:ext cx="179953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230041"/>
            <a:ext cx="1800000" cy="678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minder App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in zentralisiertes Benachrichtigungssystem für das Intranet der Berenberg </a:t>
            </a:r>
            <a:r>
              <a:rPr lang="de-DE" dirty="0" smtClean="0"/>
              <a:t>Bank</a:t>
            </a:r>
          </a:p>
          <a:p>
            <a:endParaRPr lang="de-DE" dirty="0"/>
          </a:p>
          <a:p>
            <a:r>
              <a:rPr lang="de-DE" dirty="0" smtClean="0"/>
              <a:t>Entwickelt und Präsentiert von Niklas Grieger</a:t>
            </a:r>
          </a:p>
          <a:p>
            <a:endParaRPr lang="de-DE" dirty="0"/>
          </a:p>
          <a:p>
            <a:r>
              <a:rPr lang="de-DE" dirty="0" smtClean="0"/>
              <a:t>Ausbildungsbetrieb: Berenberg</a:t>
            </a:r>
            <a:endParaRPr lang="de-DE" dirty="0"/>
          </a:p>
        </p:txBody>
      </p:sp>
      <p:pic>
        <p:nvPicPr>
          <p:cNvPr id="1028" name="Picture 4" descr="Bildergebnis für remind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9039" y="548680"/>
            <a:ext cx="3888432" cy="319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enzugriff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Bildergebnis für a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667" y="4077072"/>
            <a:ext cx="3126333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 descr="U:\Abschlussprojekt v2\Dokumentation\Diagramme\Datenflussmodelldiagramm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925746"/>
            <a:ext cx="3528392" cy="58876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046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79512" y="1268760"/>
            <a:ext cx="6624736" cy="53285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brufen verschiedener APIs (Beispiel Exchange)</a:t>
            </a:r>
          </a:p>
          <a:p>
            <a:pPr lvl="1"/>
            <a:endParaRPr lang="de-DE" dirty="0" smtClean="0"/>
          </a:p>
          <a:p>
            <a:pPr lvl="1"/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Bibliothek</a:t>
            </a:r>
            <a:endParaRPr lang="de-DE" sz="1000" dirty="0" smtClean="0"/>
          </a:p>
          <a:p>
            <a:pPr lvl="1"/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us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icrosoft.Exchange.WebServices.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pPr lvl="1"/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//Di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ist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ie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Schnittstelle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zum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Email Account d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wenders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.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Dieser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wir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han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es NT-User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uthentifiziert</a:t>
            </a:r>
            <a:endParaRPr lang="en-US" sz="1000" dirty="0" smtClean="0">
              <a:solidFill>
                <a:srgbClr val="008000"/>
              </a:solidFill>
              <a:latin typeface="Consolas"/>
            </a:endParaRP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ExchangeVersion.Exchange2010)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{</a:t>
            </a:r>
          </a:p>
          <a:p>
            <a:r>
              <a:rPr lang="en-US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Uri(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"https://bego-mail.dnsbego.de/</a:t>
            </a:r>
            <a:r>
              <a:rPr lang="en-US" sz="1000" dirty="0" err="1">
                <a:solidFill>
                  <a:srgbClr val="A31515"/>
                </a:solidFill>
                <a:latin typeface="Consolas"/>
              </a:rPr>
              <a:t>ews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/exchange.asmx"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UseDefaultCredential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rue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}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Neue Instanz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einer View zur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Ansicht der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nächsten 5 Termine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innerhalb eine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Zeitraums</a:t>
            </a:r>
          </a:p>
          <a:p>
            <a:pPr lvl="1"/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 smtClean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5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>
                <a:solidFill>
                  <a:srgbClr val="008000"/>
                </a:solidFill>
                <a:latin typeface="Consolas"/>
              </a:rPr>
              <a:t>//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Zugriff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auf die Attribute des Outlook-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Termins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</a:t>
            </a:r>
          </a:p>
          <a:p>
            <a:pPr lvl="1"/>
            <a:r>
              <a:rPr lang="de-DE" sz="1000" dirty="0" err="1"/>
              <a:t>cView.PropertySet</a:t>
            </a:r>
            <a:r>
              <a:rPr lang="de-DE" sz="1000" dirty="0"/>
              <a:t> = </a:t>
            </a:r>
            <a:r>
              <a:rPr lang="de-DE" sz="1000" dirty="0" err="1"/>
              <a:t>new</a:t>
            </a:r>
            <a:r>
              <a:rPr lang="de-DE" sz="1000" dirty="0"/>
              <a:t> </a:t>
            </a:r>
            <a:r>
              <a:rPr lang="de-DE" sz="1000" dirty="0" err="1" smtClean="0"/>
              <a:t>PropertySet</a:t>
            </a:r>
            <a:r>
              <a:rPr lang="de-DE" sz="1000" dirty="0" smtClean="0"/>
              <a:t>(</a:t>
            </a:r>
            <a:r>
              <a:rPr lang="de-DE" sz="1000" dirty="0" err="1" smtClean="0"/>
              <a:t>AppointmentSchema.Subject</a:t>
            </a:r>
            <a:r>
              <a:rPr lang="de-DE" sz="1000" dirty="0" smtClean="0"/>
              <a:t>, </a:t>
            </a:r>
            <a:r>
              <a:rPr lang="de-DE" sz="1000" dirty="0" err="1" smtClean="0"/>
              <a:t>AppointmentSchema.Start</a:t>
            </a:r>
            <a:r>
              <a:rPr lang="de-DE" sz="1000" dirty="0" smtClean="0"/>
              <a:t>, …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Repräsentiert das Ergebnis der View, welche die Termine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inhaltet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FindItemsResul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alendar.Find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List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);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Iterieren durch die View, zum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matchen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er Ergebnisse in das Schema der Reminder App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 err="1">
                <a:solidFill>
                  <a:srgbClr val="0000FF"/>
                </a:solidFill>
                <a:latin typeface="Consolas"/>
              </a:rPr>
              <a:t>foreach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(Appointment a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appointments) 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.Tex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.Subject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.Ad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391130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eck 10"/>
          <p:cNvSpPr/>
          <p:nvPr/>
        </p:nvSpPr>
        <p:spPr>
          <a:xfrm>
            <a:off x="251520" y="1268760"/>
            <a:ext cx="648072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Zusammenfassen </a:t>
            </a:r>
            <a:r>
              <a:rPr lang="de-DE" dirty="0"/>
              <a:t>der </a:t>
            </a:r>
            <a:r>
              <a:rPr lang="de-DE" dirty="0" smtClean="0"/>
              <a:t>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r>
              <a:rPr lang="de-DE" sz="1000" dirty="0" smtClean="0"/>
              <a:t>…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err="1"/>
              <a:t>sql</a:t>
            </a:r>
            <a:r>
              <a:rPr lang="de-DE" sz="1000" dirty="0"/>
              <a:t> = …;</a:t>
            </a:r>
          </a:p>
          <a:p>
            <a:endParaRPr lang="de-DE" sz="1000" dirty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= _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onnection.Connection.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ächsten 5 Termine aus 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GetExchange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Konkatenier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a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mit den Terminen au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.Conca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05784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268760"/>
            <a:ext cx="6480720" cy="720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Gruppieren der 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251520" y="2019304"/>
            <a:ext cx="648072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die Reminder Arten ab, die der User innerhalb des Zeitraum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sitzt</a:t>
            </a: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reminderService.getReminderType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Die Reminder Art repräsentiert den ‘Parent’ de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minders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latestReminde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item =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le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 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PanelBarItem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title: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tem.tit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tem.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[]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;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	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un kommen die eigentlichen Reminder der jeweiligen Art als ‘Childs’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hinzu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queryChildItem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item.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child.id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art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}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}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…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7388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1000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0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5496" y="1268760"/>
            <a:ext cx="6840760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/>
              <a:t>Abrufen des </a:t>
            </a:r>
            <a:r>
              <a:rPr lang="de-DE" dirty="0" smtClean="0"/>
              <a:t>Webservices (http Anfrage)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Reminder Arten, die der User innerhalb eines Zeitraums besitzt, ab</a:t>
            </a: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Latest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	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: </a:t>
            </a:r>
            <a:r>
              <a:rPr lang="de-DE" sz="1000" dirty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…}</a:t>
            </a:r>
            <a:endParaRPr lang="de-DE" sz="1000" dirty="0" smtClean="0"/>
          </a:p>
          <a:p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Reminder innerhalb eines Zeitraum und anhand einer bestimmten Art ab</a:t>
            </a:r>
          </a:p>
          <a:p>
            <a:r>
              <a:rPr lang="de-DE" sz="1000" dirty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Latest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	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:</a:t>
            </a:r>
            <a:r>
              <a:rPr lang="de-DE" sz="1000" dirty="0" smtClean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con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backendUr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api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v1.0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reminder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GetLatestReminder?art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start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end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 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mitarbeiter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userI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http.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DE" sz="1000" dirty="0" smtClean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751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weiterbarke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0242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648" y="4149080"/>
            <a:ext cx="1512168" cy="234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23528" y="1268760"/>
            <a:ext cx="6336704" cy="5223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Beispiel: </a:t>
            </a:r>
            <a:endParaRPr lang="de-DE" b="1" dirty="0" smtClean="0">
              <a:solidFill>
                <a:schemeClr val="tx2"/>
              </a:solidFill>
            </a:endParaRPr>
          </a:p>
          <a:p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trag: Erweiterung der Reminder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 Weiteres System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en im Webservice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Analyse der Datenherkunft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/>
              <a:t>Abfrage der Schnittstelle im </a:t>
            </a:r>
            <a:r>
              <a:rPr lang="de-DE" dirty="0" smtClean="0"/>
              <a:t>Repository des Webservice</a:t>
            </a: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atchen der Ergebnisse mit dem Reminder Schema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Erstellen einer </a:t>
            </a:r>
            <a:r>
              <a:rPr lang="de-DE" dirty="0" err="1" smtClean="0"/>
              <a:t>ParentId</a:t>
            </a:r>
            <a:r>
              <a:rPr lang="de-DE" dirty="0" smtClean="0"/>
              <a:t>/</a:t>
            </a:r>
            <a:r>
              <a:rPr lang="de-DE" dirty="0" err="1" smtClean="0"/>
              <a:t>ArtId</a:t>
            </a:r>
            <a:r>
              <a:rPr lang="de-DE" dirty="0" smtClean="0"/>
              <a:t> um die Gruppierung zu ermöglichen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ethode </a:t>
            </a:r>
            <a:r>
              <a:rPr lang="de-DE" dirty="0" err="1" smtClean="0"/>
              <a:t>GetLatestReminder</a:t>
            </a:r>
            <a:r>
              <a:rPr lang="de-DE" dirty="0" smtClean="0"/>
              <a:t>() im </a:t>
            </a:r>
            <a:r>
              <a:rPr lang="de-DE" dirty="0" err="1" smtClean="0"/>
              <a:t>ReminderController</a:t>
            </a:r>
            <a:r>
              <a:rPr lang="de-DE" dirty="0" smtClean="0"/>
              <a:t> anpassen</a:t>
            </a:r>
          </a:p>
          <a:p>
            <a:pPr lvl="1"/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Weitere Reminder Art in die Oracle Datenbank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 in der Datenbank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Hinzufügen der Art </a:t>
            </a:r>
            <a:r>
              <a:rPr lang="de-DE" dirty="0" err="1" smtClean="0"/>
              <a:t>Id</a:t>
            </a:r>
            <a:r>
              <a:rPr lang="de-DE" dirty="0" smtClean="0"/>
              <a:t> zum Select in der PL/SQL Funktion 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err="1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40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2292" name="Picture 4" descr="Bildergebnis für präsentation männchen fazi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897" y="3972101"/>
            <a:ext cx="2520279" cy="252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251520" y="1268760"/>
            <a:ext cx="6480720" cy="50405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Alle Anforderung sind vollständig implementier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ie wird es weitergehen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Erweiterung: Echtzeitübertragung bei den ROM-</a:t>
            </a:r>
            <a:r>
              <a:rPr lang="de-DE" dirty="0" err="1" smtClean="0"/>
              <a:t>Remindern</a:t>
            </a: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Kundenreaktion analysieren</a:t>
            </a: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Mein </a:t>
            </a:r>
            <a:r>
              <a:rPr lang="de-DE" b="1" dirty="0" smtClean="0">
                <a:solidFill>
                  <a:schemeClr val="tx2"/>
                </a:solidFill>
              </a:rPr>
              <a:t>persönlicher </a:t>
            </a:r>
            <a:r>
              <a:rPr lang="de-DE" b="1" dirty="0">
                <a:solidFill>
                  <a:schemeClr val="tx2"/>
                </a:solidFill>
              </a:rPr>
              <a:t>Erfolg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Neues Wissen aufgebaut in folgenden Bereichen: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 smtClean="0"/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Angular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Typescrip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.Net Core (C#)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Web Services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Gi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Aktives mitwirken in dem neuen Intranet Webportal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200476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deo 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57428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video>
              <p:cMediaNode vol="80000">
                <p:cTn id="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Vielen Dank </a:t>
            </a:r>
            <a:endParaRPr lang="de-DE" sz="40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f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ür </a:t>
            </a:r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hre 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ufmerksamkeit!</a:t>
            </a:r>
            <a:endParaRPr lang="de-DE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U:\Abschlussprojekt v2\Präsentation\img\End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751917"/>
            <a:ext cx="1656184" cy="183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323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750" tmFilter="0, 0; .2, .5; .8, .5; 1, 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375" autoRev="1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r Ausbildungsbetrieb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40768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2" name="Picture 11" descr="U:\Projektarbeit\Präsentation\img\vorstellung_BankGebaeude.jpe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" y="1340768"/>
            <a:ext cx="6731801" cy="4842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23528" y="1052736"/>
            <a:ext cx="6408712" cy="5040312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inleitung</a:t>
            </a:r>
          </a:p>
          <a:p>
            <a:pPr marL="465750" lvl="1" indent="-285750"/>
            <a:r>
              <a:rPr lang="de-DE" dirty="0" smtClean="0"/>
              <a:t>Projektbeschreibung</a:t>
            </a:r>
          </a:p>
          <a:p>
            <a:pPr marL="465750" lvl="1" indent="-285750"/>
            <a:r>
              <a:rPr lang="de-DE" dirty="0" smtClean="0"/>
              <a:t>Projektbegründung</a:t>
            </a:r>
          </a:p>
          <a:p>
            <a:pPr marL="465750" lvl="1" indent="-285750"/>
            <a:r>
              <a:rPr lang="de-DE" dirty="0" smtClean="0"/>
              <a:t>Projektziel</a:t>
            </a:r>
          </a:p>
          <a:p>
            <a:pPr marL="285750" lvl="1" indent="-285750"/>
            <a:r>
              <a:rPr lang="de-DE" b="1" dirty="0" smtClean="0">
                <a:solidFill>
                  <a:schemeClr val="tx2"/>
                </a:solidFill>
              </a:rPr>
              <a:t>Analyse</a:t>
            </a:r>
          </a:p>
          <a:p>
            <a:pPr marL="465750" lvl="2" indent="-285750"/>
            <a:r>
              <a:rPr lang="de-DE" dirty="0" smtClean="0"/>
              <a:t>Projektkosten</a:t>
            </a:r>
            <a:endParaRPr lang="de-DE" b="1" dirty="0" smtClean="0">
              <a:solidFill>
                <a:schemeClr val="tx2"/>
              </a:solidFill>
            </a:endParaRPr>
          </a:p>
          <a:p>
            <a:pPr marL="465750" lvl="1" indent="-285750"/>
            <a:r>
              <a:rPr lang="de-DE" dirty="0"/>
              <a:t>Kosten </a:t>
            </a:r>
            <a:r>
              <a:rPr lang="de-DE" dirty="0" smtClean="0"/>
              <a:t>IST-Beispiel</a:t>
            </a:r>
          </a:p>
          <a:p>
            <a:pPr marL="465750" lvl="1" indent="-285750"/>
            <a:r>
              <a:rPr lang="de-DE" dirty="0" smtClean="0"/>
              <a:t>Kosten </a:t>
            </a:r>
            <a:r>
              <a:rPr lang="de-DE" dirty="0"/>
              <a:t>SOLL-Beispiel</a:t>
            </a:r>
          </a:p>
          <a:p>
            <a:pPr marL="465750" lvl="1" indent="-285750"/>
            <a:r>
              <a:rPr lang="de-DE" dirty="0" smtClean="0"/>
              <a:t>Amortisation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ntwurf</a:t>
            </a:r>
          </a:p>
          <a:p>
            <a:pPr marL="465750" lvl="1" indent="-285750"/>
            <a:r>
              <a:rPr lang="de-DE" dirty="0" smtClean="0"/>
              <a:t>Datenzugriff 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Implementierung</a:t>
            </a:r>
          </a:p>
          <a:p>
            <a:pPr marL="465750" lvl="1" indent="-285750"/>
            <a:r>
              <a:rPr lang="de-DE" dirty="0"/>
              <a:t>Zusammenfassen der </a:t>
            </a:r>
            <a:r>
              <a:rPr lang="de-DE" dirty="0" smtClean="0"/>
              <a:t>Daten (Code)</a:t>
            </a:r>
            <a:endParaRPr lang="de-DE" dirty="0"/>
          </a:p>
          <a:p>
            <a:pPr marL="465750" lvl="1" indent="-285750"/>
            <a:r>
              <a:rPr lang="de-DE" dirty="0" smtClean="0"/>
              <a:t>Erweiterbarkeit</a:t>
            </a:r>
          </a:p>
          <a:p>
            <a:pPr marL="465750" lvl="1" indent="-285750"/>
            <a:r>
              <a:rPr lang="de-DE" dirty="0" smtClean="0"/>
              <a:t>Video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Fazit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114" name="Picture 18" descr="U:\Abschlussprojekt v2\Präsentation\img\3dmans\inf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4365104"/>
            <a:ext cx="2016224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946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75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750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276024"/>
              </p:ext>
            </p:extLst>
          </p:nvPr>
        </p:nvGraphicFramePr>
        <p:xfrm>
          <a:off x="1921" y="2044"/>
          <a:ext cx="1919" cy="20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2044"/>
                        <a:ext cx="1919" cy="20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0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685" y="2872483"/>
            <a:ext cx="5323805" cy="346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34745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08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5124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687" y="4725144"/>
            <a:ext cx="2816313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/>
          <p:cNvGrpSpPr/>
          <p:nvPr/>
        </p:nvGrpSpPr>
        <p:grpSpPr>
          <a:xfrm>
            <a:off x="-1023112" y="2738600"/>
            <a:ext cx="6253922" cy="4099776"/>
            <a:chOff x="-1023112" y="2738600"/>
            <a:chExt cx="6253922" cy="4099776"/>
          </a:xfrm>
        </p:grpSpPr>
        <p:pic>
          <p:nvPicPr>
            <p:cNvPr id="3087" name="Picture 15" descr="U:\Abschlussprojekt v2\Präsentation\img\Projektbeschreibung_neuesIntranet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23112" y="2738600"/>
              <a:ext cx="6192688" cy="4099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hteck 26"/>
            <p:cNvSpPr/>
            <p:nvPr/>
          </p:nvSpPr>
          <p:spPr bwMode="gray">
            <a:xfrm>
              <a:off x="3059832" y="4509120"/>
              <a:ext cx="720080" cy="43204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089" name="Gekrümmte Verbindung 3088"/>
            <p:cNvCxnSpPr>
              <a:stCxn id="4098" idx="1"/>
              <a:endCxn id="27" idx="3"/>
            </p:cNvCxnSpPr>
            <p:nvPr/>
          </p:nvCxnSpPr>
          <p:spPr>
            <a:xfrm rot="10800000" flipV="1">
              <a:off x="3779913" y="3469146"/>
              <a:ext cx="1450897" cy="1255998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90" name="Textfeld 3089"/>
          <p:cNvSpPr txBox="1"/>
          <p:nvPr/>
        </p:nvSpPr>
        <p:spPr>
          <a:xfrm>
            <a:off x="194392" y="1088204"/>
            <a:ext cx="4032448" cy="16503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Was sind „</a:t>
            </a:r>
            <a:r>
              <a:rPr lang="de-DE" dirty="0" err="1"/>
              <a:t>Reminder</a:t>
            </a:r>
            <a:r>
              <a:rPr lang="de-DE" dirty="0"/>
              <a:t>“ 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nzeige von </a:t>
            </a:r>
            <a:r>
              <a:rPr lang="de-DE" dirty="0" err="1" smtClean="0"/>
              <a:t>Remindern</a:t>
            </a:r>
            <a:r>
              <a:rPr lang="de-DE" dirty="0" smtClean="0"/>
              <a:t> aus verschiedenen Datenquelle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modulare Web App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 das Intranet Webportal implementier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 den Anwender abgestimm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Teilprojekt des gesamten Webprotal-Projekts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  <p:grpSp>
        <p:nvGrpSpPr>
          <p:cNvPr id="11" name="Gruppieren 10"/>
          <p:cNvGrpSpPr/>
          <p:nvPr/>
        </p:nvGrpSpPr>
        <p:grpSpPr>
          <a:xfrm>
            <a:off x="4962459" y="2605676"/>
            <a:ext cx="1365227" cy="1615411"/>
            <a:chOff x="5004048" y="2492896"/>
            <a:chExt cx="1872208" cy="2295592"/>
          </a:xfrm>
        </p:grpSpPr>
        <p:pic>
          <p:nvPicPr>
            <p:cNvPr id="4098" name="Picture 2" descr="U:\Abschlussprojekt v2\Präsentation\img\icon_webapp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2050" y="2907136"/>
              <a:ext cx="1408853" cy="1625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Abgerundetes Rechteck 7"/>
            <p:cNvSpPr/>
            <p:nvPr/>
          </p:nvSpPr>
          <p:spPr bwMode="gray">
            <a:xfrm>
              <a:off x="5004048" y="2492896"/>
              <a:ext cx="1872208" cy="2295592"/>
            </a:xfrm>
            <a:prstGeom prst="round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5215270" y="2564904"/>
              <a:ext cx="1372953" cy="4320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dirty="0" smtClean="0"/>
                <a:t>Mein Projek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455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35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gründ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3074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581128"/>
            <a:ext cx="1584176" cy="1768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0477" y="1340768"/>
            <a:ext cx="6480720" cy="51125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ist es Bisher: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bis keine Übersicht über alle Benachrichtigung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Performanc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Gefahr, dass der Anwender die Benachrichtigung nicht erhält oder übersieh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Umständliche und teilweise keine Möglichkeiten zur Statuspfle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4170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098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4149080"/>
            <a:ext cx="2524125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340767"/>
            <a:ext cx="6480720" cy="3226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soll es sein: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übersichtliche</a:t>
            </a:r>
            <a:r>
              <a:rPr lang="de-DE" dirty="0"/>
              <a:t>, kompakte und zentralisierte Anzei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heitliche Anzeige der Benachrichtigungen aus verschiedenen </a:t>
            </a:r>
            <a:r>
              <a:rPr lang="de-DE" dirty="0"/>
              <a:t>Systeme 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tatuspflege ist möglich und kann einfach erweitert werd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ehr gute Performance</a:t>
            </a:r>
          </a:p>
        </p:txBody>
      </p:sp>
    </p:spTree>
    <p:extLst>
      <p:ext uri="{BB962C8B-B14F-4D97-AF65-F5344CB8AC3E}">
        <p14:creationId xmlns:p14="http://schemas.microsoft.com/office/powerpoint/2010/main" val="206652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220" name="Picture 4" descr="Bildergebnis für präsentation männchen kost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423052"/>
            <a:ext cx="1800200" cy="1894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23528" y="1340768"/>
            <a:ext cx="6408712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Auszubildende:	15 €/Stunde 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Mitarbeiter:		76€ / Stund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klusive Lizenzkosten etc.</a:t>
            </a: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914279"/>
              </p:ext>
            </p:extLst>
          </p:nvPr>
        </p:nvGraphicFramePr>
        <p:xfrm>
          <a:off x="579579" y="3717032"/>
          <a:ext cx="5896610" cy="1066800"/>
        </p:xfrm>
        <a:graphic>
          <a:graphicData uri="http://schemas.openxmlformats.org/drawingml/2006/table">
            <a:tbl>
              <a:tblPr firstRow="1" firstCol="1" bandRow="1">
                <a:tableStyleId>{7D95DDBC-5C31-40A9-B56D-BDF15E579DC0}</a:tableStyleId>
              </a:tblPr>
              <a:tblGrid>
                <a:gridCol w="1928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0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2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52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Vorgang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Mitarbeit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Zeit (h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Kosten (€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wicklungskosten</a:t>
                      </a:r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1x Auszubildender </a:t>
                      </a:r>
                    </a:p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 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70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1050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hlicher Tes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30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nahm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5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u="sng" dirty="0">
                          <a:effectLst/>
                        </a:rPr>
                        <a:t>1506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205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IST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7170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941168"/>
            <a:ext cx="2304260" cy="172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043" y="1486838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1107843" y="3587880"/>
            <a:ext cx="863453" cy="991194"/>
            <a:chOff x="612203" y="3933056"/>
            <a:chExt cx="863453" cy="991194"/>
          </a:xfrm>
        </p:grpSpPr>
        <p:pic>
          <p:nvPicPr>
            <p:cNvPr id="7172" name="Picture 4" descr="U:\Abschlussprojekt v2\Präsentation\img\Exchange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203" y="4149080"/>
              <a:ext cx="775170" cy="7751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628478" y="3933056"/>
              <a:ext cx="847178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Exchange</a:t>
              </a:r>
            </a:p>
          </p:txBody>
        </p:sp>
      </p:grpSp>
      <p:pic>
        <p:nvPicPr>
          <p:cNvPr id="7174" name="Picture 6" descr="http://servicebank/images/Rom/log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0728" y="3627336"/>
            <a:ext cx="922784" cy="92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pieren 15"/>
          <p:cNvGrpSpPr/>
          <p:nvPr/>
        </p:nvGrpSpPr>
        <p:grpSpPr>
          <a:xfrm>
            <a:off x="4420211" y="4211595"/>
            <a:ext cx="2384694" cy="1240389"/>
            <a:chOff x="4499992" y="3861048"/>
            <a:chExt cx="2384694" cy="1240389"/>
          </a:xfrm>
        </p:grpSpPr>
        <p:pic>
          <p:nvPicPr>
            <p:cNvPr id="7176" name="Picture 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2" y="4159384"/>
              <a:ext cx="2384694" cy="942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feld 14"/>
            <p:cNvSpPr txBox="1"/>
            <p:nvPr/>
          </p:nvSpPr>
          <p:spPr>
            <a:xfrm>
              <a:off x="4499992" y="3861048"/>
              <a:ext cx="2384694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Alte Intranet Seite 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1115658" y="2226008"/>
            <a:ext cx="1792385" cy="1416966"/>
            <a:chOff x="1123431" y="1863914"/>
            <a:chExt cx="1792385" cy="1416966"/>
          </a:xfrm>
        </p:grpSpPr>
        <p:cxnSp>
          <p:nvCxnSpPr>
            <p:cNvPr id="18" name="Gekrümmte Verbindung 17"/>
            <p:cNvCxnSpPr>
              <a:stCxn id="8" idx="1"/>
              <a:endCxn id="13" idx="0"/>
            </p:cNvCxnSpPr>
            <p:nvPr/>
          </p:nvCxnSpPr>
          <p:spPr>
            <a:xfrm rot="10800000" flipV="1">
              <a:off x="1555480" y="1863914"/>
              <a:ext cx="1360336" cy="1416966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/>
            <p:cNvSpPr txBox="1"/>
            <p:nvPr/>
          </p:nvSpPr>
          <p:spPr>
            <a:xfrm>
              <a:off x="1123431" y="1988840"/>
              <a:ext cx="864096" cy="216024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15 sec</a:t>
              </a: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2908043" y="2910084"/>
            <a:ext cx="684076" cy="772346"/>
            <a:chOff x="2915816" y="2547990"/>
            <a:chExt cx="684076" cy="772346"/>
          </a:xfrm>
        </p:grpSpPr>
        <p:cxnSp>
          <p:nvCxnSpPr>
            <p:cNvPr id="20" name="Gekrümmte Verbindung 19"/>
            <p:cNvCxnSpPr>
              <a:stCxn id="8" idx="2"/>
              <a:endCxn id="7174" idx="0"/>
            </p:cNvCxnSpPr>
            <p:nvPr/>
          </p:nvCxnSpPr>
          <p:spPr>
            <a:xfrm rot="16200000" flipH="1">
              <a:off x="3213719" y="2934162"/>
              <a:ext cx="772346" cy="1"/>
            </a:xfrm>
            <a:prstGeom prst="curvedConnector3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/>
            <p:nvPr/>
          </p:nvSpPr>
          <p:spPr>
            <a:xfrm>
              <a:off x="2915816" y="2759600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4276195" y="2226008"/>
            <a:ext cx="1800200" cy="2040681"/>
            <a:chOff x="4283968" y="1863914"/>
            <a:chExt cx="1800200" cy="2040681"/>
          </a:xfrm>
        </p:grpSpPr>
        <p:cxnSp>
          <p:nvCxnSpPr>
            <p:cNvPr id="22" name="Gekrümmte Verbindung 21"/>
            <p:cNvCxnSpPr>
              <a:stCxn id="8" idx="3"/>
              <a:endCxn id="15" idx="0"/>
            </p:cNvCxnSpPr>
            <p:nvPr/>
          </p:nvCxnSpPr>
          <p:spPr>
            <a:xfrm>
              <a:off x="4283968" y="1863914"/>
              <a:ext cx="1336363" cy="2040681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/>
            <p:cNvSpPr txBox="1"/>
            <p:nvPr/>
          </p:nvSpPr>
          <p:spPr>
            <a:xfrm>
              <a:off x="5508104" y="2433573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aphicFrame>
        <p:nvGraphicFramePr>
          <p:cNvPr id="7168" name="Tabelle 71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330175"/>
              </p:ext>
            </p:extLst>
          </p:nvPr>
        </p:nvGraphicFramePr>
        <p:xfrm>
          <a:off x="1259632" y="5733256"/>
          <a:ext cx="5059017" cy="843869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4827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762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1856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013">
                <a:tc>
                  <a:txBody>
                    <a:bodyPr/>
                    <a:lstStyle/>
                    <a:p>
                      <a:r>
                        <a:rPr lang="de-DE" dirty="0" smtClean="0"/>
                        <a:t>1 min 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.375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8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1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8196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0" y="4437112"/>
            <a:ext cx="1933458" cy="186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124744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3008684" y="3680523"/>
            <a:ext cx="1182415" cy="1322228"/>
            <a:chOff x="2957343" y="3680523"/>
            <a:chExt cx="1182415" cy="1322228"/>
          </a:xfrm>
        </p:grpSpPr>
        <p:pic>
          <p:nvPicPr>
            <p:cNvPr id="8195" name="Picture 3" descr="U:\Abschlussprojekt v2\Präsentation\img\if_reminder_32249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1553" y="4006074"/>
              <a:ext cx="996677" cy="996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2957343" y="3680523"/>
              <a:ext cx="1182415" cy="2170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Reminder App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599892" y="2492896"/>
            <a:ext cx="756084" cy="1187627"/>
            <a:chOff x="3599892" y="2492896"/>
            <a:chExt cx="756084" cy="1187627"/>
          </a:xfrm>
        </p:grpSpPr>
        <p:cxnSp>
          <p:nvCxnSpPr>
            <p:cNvPr id="15" name="Gerade Verbindung mit Pfeil 14"/>
            <p:cNvCxnSpPr>
              <a:stCxn id="9" idx="2"/>
              <a:endCxn id="10" idx="0"/>
            </p:cNvCxnSpPr>
            <p:nvPr/>
          </p:nvCxnSpPr>
          <p:spPr>
            <a:xfrm>
              <a:off x="3599892" y="2492896"/>
              <a:ext cx="0" cy="1187627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/>
            <p:cNvSpPr txBox="1"/>
            <p:nvPr/>
          </p:nvSpPr>
          <p:spPr>
            <a:xfrm>
              <a:off x="3707904" y="2924944"/>
              <a:ext cx="648072" cy="21602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25 sec</a:t>
              </a:r>
            </a:p>
          </p:txBody>
        </p:sp>
      </p:grpSp>
      <p:graphicFrame>
        <p:nvGraphicFramePr>
          <p:cNvPr id="20" name="Tabel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95505"/>
              </p:ext>
            </p:extLst>
          </p:nvPr>
        </p:nvGraphicFramePr>
        <p:xfrm>
          <a:off x="827584" y="5733256"/>
          <a:ext cx="5976664" cy="670745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8074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692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5945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900">
                <a:tc>
                  <a:txBody>
                    <a:bodyPr/>
                    <a:lstStyle/>
                    <a:p>
                      <a:r>
                        <a:rPr lang="de-DE" dirty="0" smtClean="0"/>
                        <a:t>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75€</a:t>
                      </a:r>
                      <a:r>
                        <a:rPr lang="de-DE" baseline="0" dirty="0" smtClean="0"/>
                        <a:t> + 1.506</a:t>
                      </a:r>
                      <a:r>
                        <a:rPr lang="de-DE" dirty="0" smtClean="0"/>
                        <a:t>€ </a:t>
                      </a:r>
                      <a:r>
                        <a:rPr lang="de-DE" smtClean="0"/>
                        <a:t>= 1.981 </a:t>
                      </a:r>
                      <a:r>
                        <a:rPr lang="de-DE" dirty="0" smtClean="0"/>
                        <a:t>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0691" y="977443"/>
            <a:ext cx="6481763" cy="1011397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rsparnis pro Tag ab 1200 Mitarbeite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Bei allen 1500 Mitarbeitern = 394€ Ersparnis pro Tag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6148" name="Picture 4" descr="Bildergebnis für präsentation männch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3796" y="4149080"/>
            <a:ext cx="2808312" cy="2445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Diagramm 10" title="Kosten pro Tag"/>
          <p:cNvGraphicFramePr/>
          <p:nvPr>
            <p:extLst>
              <p:ext uri="{D42A27DB-BD31-4B8C-83A1-F6EECF244321}">
                <p14:modId xmlns:p14="http://schemas.microsoft.com/office/powerpoint/2010/main" val="3345860374"/>
              </p:ext>
            </p:extLst>
          </p:nvPr>
        </p:nvGraphicFramePr>
        <p:xfrm>
          <a:off x="221691" y="1914245"/>
          <a:ext cx="5930268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Vorlage_D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Vorlage_D</Template>
  <TotalTime>0</TotalTime>
  <Words>916</Words>
  <Application>Microsoft Office PowerPoint</Application>
  <PresentationFormat>Bildschirmpräsentation (4:3)</PresentationFormat>
  <Paragraphs>384</Paragraphs>
  <Slides>20</Slides>
  <Notes>2</Notes>
  <HiddenSlides>5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5" baseType="lpstr">
      <vt:lpstr>Arial</vt:lpstr>
      <vt:lpstr>Consolas</vt:lpstr>
      <vt:lpstr>Times New Roman</vt:lpstr>
      <vt:lpstr>BeGo_Vorlage_D</vt:lpstr>
      <vt:lpstr>think-cell Folie</vt:lpstr>
      <vt:lpstr>Reminder App</vt:lpstr>
      <vt:lpstr>Agenda</vt:lpstr>
      <vt:lpstr>Projektbeschreibung</vt:lpstr>
      <vt:lpstr>Projektbegründung</vt:lpstr>
      <vt:lpstr>Projektziel</vt:lpstr>
      <vt:lpstr>Projektkosten</vt:lpstr>
      <vt:lpstr>Kosten IST-Beispiel</vt:lpstr>
      <vt:lpstr>Kosten SOLL-Beispiel</vt:lpstr>
      <vt:lpstr>Amortisation</vt:lpstr>
      <vt:lpstr>Datenzugriff</vt:lpstr>
      <vt:lpstr>Zusammenfassen der Daten</vt:lpstr>
      <vt:lpstr>Zusammenfassen der Daten</vt:lpstr>
      <vt:lpstr>Zusammenfassen der Daten</vt:lpstr>
      <vt:lpstr>Zusammenfassen der Daten</vt:lpstr>
      <vt:lpstr>Erweiterbarkeit</vt:lpstr>
      <vt:lpstr>Fazit</vt:lpstr>
      <vt:lpstr>Video </vt:lpstr>
      <vt:lpstr>PowerPoint-Präsentation</vt:lpstr>
      <vt:lpstr>Der Ausbildungsbetrieb</vt:lpstr>
      <vt:lpstr>Wir – der interne IT Dienstleister</vt:lpstr>
    </vt:vector>
  </TitlesOfParts>
  <Company>Berenbe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Grieger, Niklas</dc:creator>
  <dc:description>Optimiert für MS PowerPoint 2010.</dc:description>
  <cp:lastModifiedBy>Nik las</cp:lastModifiedBy>
  <cp:revision>123</cp:revision>
  <cp:lastPrinted>2013-03-21T16:05:01Z</cp:lastPrinted>
  <dcterms:created xsi:type="dcterms:W3CDTF">2017-11-30T08:55:34Z</dcterms:created>
  <dcterms:modified xsi:type="dcterms:W3CDTF">2018-01-01T23:11:59Z</dcterms:modified>
</cp:coreProperties>
</file>